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23"/>
  </p:notesMasterIdLst>
  <p:sldIdLst>
    <p:sldId id="1442" r:id="rId2"/>
    <p:sldId id="1530" r:id="rId3"/>
    <p:sldId id="1515" r:id="rId4"/>
    <p:sldId id="1510" r:id="rId5"/>
    <p:sldId id="1517" r:id="rId6"/>
    <p:sldId id="1516" r:id="rId7"/>
    <p:sldId id="1545" r:id="rId8"/>
    <p:sldId id="1546" r:id="rId9"/>
    <p:sldId id="1548" r:id="rId10"/>
    <p:sldId id="1549" r:id="rId11"/>
    <p:sldId id="1547" r:id="rId12"/>
    <p:sldId id="1552" r:id="rId13"/>
    <p:sldId id="1514" r:id="rId14"/>
    <p:sldId id="1520" r:id="rId15"/>
    <p:sldId id="1512" r:id="rId16"/>
    <p:sldId id="1553" r:id="rId17"/>
    <p:sldId id="1521" r:id="rId18"/>
    <p:sldId id="1522" r:id="rId19"/>
    <p:sldId id="1554" r:id="rId20"/>
    <p:sldId id="1555" r:id="rId21"/>
    <p:sldId id="1489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484"/>
    <a:srgbClr val="5B7F95"/>
    <a:srgbClr val="003398"/>
    <a:srgbClr val="71A1A7"/>
    <a:srgbClr val="D5E3E5"/>
    <a:srgbClr val="DFF0CB"/>
    <a:srgbClr val="A6A6A6"/>
    <a:srgbClr val="CBDFEF"/>
    <a:srgbClr val="FFFF00"/>
    <a:srgbClr val="EBF2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71" d="100"/>
          <a:sy n="71" d="100"/>
        </p:scale>
        <p:origin x="28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t>9/12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9F40AF-9A69-4603-A449-2C83E8A279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4000" y="538284"/>
            <a:ext cx="3005180" cy="1116000"/>
          </a:xfrm>
          <a:prstGeom prst="rect">
            <a:avLst/>
          </a:prstGeom>
        </p:spPr>
      </p:pic>
      <p:pic>
        <p:nvPicPr>
          <p:cNvPr id="9" name="Picture 8" descr="Shape, rectangle&#10;&#10;Description automatically generated">
            <a:extLst>
              <a:ext uri="{FF2B5EF4-FFF2-40B4-BE49-F238E27FC236}">
                <a16:creationId xmlns:a16="http://schemas.microsoft.com/office/drawing/2014/main" id="{87826B23-70D3-4E78-9C4C-BC29B698AB9F}"/>
              </a:ext>
            </a:extLst>
          </p:cNvPr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1248" y="2109600"/>
            <a:ext cx="10458000" cy="1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654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FD20249F-A3D7-5EC6-4BFB-825410D9E9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810253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C1D2DD1B-798B-C529-D75E-2C08741644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439685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1FA60B8-6951-5B37-7463-AB189091E7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926713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00DF4432-14A6-15E5-79F2-4E5D09017F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79864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1E52E35-786C-9650-2DE9-644136BEEB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963981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CBB506F-BE9A-2CB4-77B4-B70F8D441C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207237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4C5EC07-3445-4106-AB9D-E3E2E0E12C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174" y="6246000"/>
            <a:ext cx="3028552" cy="37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A7E8ED5-D497-8550-EDB8-81651BFF379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10599" y="6356350"/>
            <a:ext cx="324603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727C05-833D-4687-972A-9BAD214A1A4C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499695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D384BBF-8D03-11E0-E1FF-28DCC4A8CB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26831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7D12691-4373-2C16-9145-5CA68F7B8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131538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548FB14-8E4D-15CE-06C2-6092BFF6B4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01374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A36DFEB-E291-EC4B-51D7-60D1017076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938303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FCF84FBE-0F07-88FD-D1D2-6EF64EE808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191652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853CF26-7E8E-0F1B-7ACD-BE7EE4F0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11211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C322D2B-4271-19B7-DDD0-D1326C1112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95769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2FDEE1F-FC81-7FEC-5C78-491A3EC333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897076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3E4A27E-03B3-1149-E756-41629A277E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489086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A83BDE2A-A3D7-A8B1-1B14-A121F047B6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599" y="6356350"/>
            <a:ext cx="324603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727C05-833D-4687-972A-9BAD214A1A4C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368642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err="1">
                <a:solidFill>
                  <a:prstClr val="white"/>
                </a:solidFill>
                <a:cs typeface="Century Gothic"/>
              </a:rPr>
              <a:t>Dankie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5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4B1895A-D0E5-EA6F-0256-4EFF29F93D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567882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F67EF4A4-FF97-818E-C70B-C39A398771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83482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94935AE0-3E41-2792-683B-6F94684112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43365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385FDC-C278-4BD5-9ED1-D471F0E3547E}"/>
              </a:ext>
            </a:extLst>
          </p:cNvPr>
          <p:cNvSpPr/>
          <p:nvPr userDrawn="1"/>
        </p:nvSpPr>
        <p:spPr>
          <a:xfrm>
            <a:off x="0" y="0"/>
            <a:ext cx="12192000" cy="5981683"/>
          </a:xfrm>
          <a:prstGeom prst="rect">
            <a:avLst/>
          </a:prstGeom>
          <a:solidFill>
            <a:srgbClr val="0014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417F7F33-3C42-B08F-49A6-8DCDAE393A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56258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58ABD07-1564-BF10-DC24-DEC6F1720E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02255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F270B8E9-9E6F-DAA8-C10D-A2E52C0D80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74786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192FDBB-32E1-0D8D-DC5C-B6116B0D08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39957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Relationship Id="rId35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5F675F9-E900-48C7-8A33-05A88494419C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60395" y="6210000"/>
            <a:ext cx="3172769" cy="396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AD73CB-4AB5-74B0-9911-946D30AD6C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56035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711" r:id="rId5"/>
    <p:sldLayoutId id="2147483712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0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7" Type="http://schemas.openxmlformats.org/officeDocument/2006/relationships/image" Target="../media/image46.emf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525624"/>
            <a:ext cx="10945216" cy="1873674"/>
          </a:xfrm>
        </p:spPr>
        <p:txBody>
          <a:bodyPr>
            <a:normAutofit/>
          </a:bodyPr>
          <a:lstStyle/>
          <a:p>
            <a:r>
              <a:rPr lang="en-ZA" sz="4000" b="1"/>
              <a:t>WKOD </a:t>
            </a:r>
            <a:r>
              <a:rPr lang="en-ZA" sz="4000" b="1" dirty="0" err="1"/>
              <a:t>Handelsmerkhulpbronne</a:t>
            </a:r>
            <a:endParaRPr lang="en-ZA" sz="4000" b="1" dirty="0"/>
          </a:p>
          <a:p>
            <a:endParaRPr lang="en-ZA" sz="3600" dirty="0"/>
          </a:p>
          <a:p>
            <a:r>
              <a:rPr lang="en-ZA" sz="3600" dirty="0"/>
              <a:t>Logos </a:t>
            </a:r>
            <a:r>
              <a:rPr lang="en-ZA" sz="3600" dirty="0">
                <a:solidFill>
                  <a:srgbClr val="5B7F95"/>
                </a:solidFill>
              </a:rPr>
              <a:t>|</a:t>
            </a:r>
            <a:r>
              <a:rPr lang="en-ZA" sz="3600" dirty="0"/>
              <a:t> </a:t>
            </a:r>
            <a:r>
              <a:rPr lang="en-ZA" sz="3600" dirty="0" err="1"/>
              <a:t>Visie</a:t>
            </a:r>
            <a:r>
              <a:rPr lang="en-ZA" sz="3600" dirty="0"/>
              <a:t> </a:t>
            </a:r>
            <a:r>
              <a:rPr lang="en-ZA" sz="3600" dirty="0">
                <a:solidFill>
                  <a:srgbClr val="5B7F95"/>
                </a:solidFill>
              </a:rPr>
              <a:t>|</a:t>
            </a:r>
            <a:r>
              <a:rPr lang="en-ZA" sz="3600" dirty="0"/>
              <a:t> </a:t>
            </a:r>
            <a:r>
              <a:rPr lang="en-ZA" sz="3600" dirty="0" err="1"/>
              <a:t>Waardes</a:t>
            </a:r>
            <a:endParaRPr lang="en-ZA" sz="2800" b="0" dirty="0"/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>
                <a:solidFill>
                  <a:schemeClr val="bg1"/>
                </a:solidFill>
              </a:rPr>
              <a:t>September 2024</a:t>
            </a:r>
            <a:endParaRPr lang="en-ZA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5602CD-A313-43E5-8AB4-3FEDB048D88F}"/>
              </a:ext>
            </a:extLst>
          </p:cNvPr>
          <p:cNvSpPr txBox="1"/>
          <p:nvPr/>
        </p:nvSpPr>
        <p:spPr>
          <a:xfrm>
            <a:off x="7740526" y="2675324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 err="1">
                <a:solidFill>
                  <a:schemeClr val="bg1"/>
                </a:solidFill>
              </a:rPr>
              <a:t>Onderwys</a:t>
            </a:r>
            <a:endParaRPr lang="en-Z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1504753B-8CE9-4B92-BD7F-5835CB2937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5991" y="455208"/>
            <a:ext cx="2486025" cy="311467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D797E67-564B-4899-AAF5-991134ACD4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2016" y="902773"/>
            <a:ext cx="2609850" cy="2857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EB6F0D8-DDF9-4C12-B403-A739CA5705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03741" y="644712"/>
            <a:ext cx="2724150" cy="24098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032BA6E-38FB-469D-B584-C0F5BEA12F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13591" y="201799"/>
            <a:ext cx="2209800" cy="329565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F70B6DC-D09A-4D8B-80BA-5EEF0CC719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609" y="2948988"/>
            <a:ext cx="2600325" cy="275272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1CCA8F8-0223-40FC-8C28-08B3721C0CB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22766" y="3240719"/>
            <a:ext cx="2790825" cy="2447925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5B053F-CBCB-E03B-932F-760655BC778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0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614896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7DDCE4A3-6F49-4931-9CFD-6BCC40EE00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833" y="-531223"/>
            <a:ext cx="5640334" cy="7524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F5BC76-40C2-1492-E812-8C14C34B9FE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003805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57FAD3A-3377-4D7C-A66F-11444F5E0C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6"/>
          <a:stretch/>
        </p:blipFill>
        <p:spPr>
          <a:xfrm>
            <a:off x="-11248" y="-1278000"/>
            <a:ext cx="12203248" cy="719982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EFEB3F6-B2F4-4E3D-9DC4-25A606B4A23F}"/>
              </a:ext>
            </a:extLst>
          </p:cNvPr>
          <p:cNvSpPr/>
          <p:nvPr/>
        </p:nvSpPr>
        <p:spPr>
          <a:xfrm>
            <a:off x="-11239" y="-1278000"/>
            <a:ext cx="12455788" cy="7199829"/>
          </a:xfrm>
          <a:prstGeom prst="rect">
            <a:avLst/>
          </a:prstGeom>
          <a:solidFill>
            <a:srgbClr val="00148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D515D1-4387-45FD-8F5E-AACA48529A05}"/>
              </a:ext>
            </a:extLst>
          </p:cNvPr>
          <p:cNvSpPr/>
          <p:nvPr/>
        </p:nvSpPr>
        <p:spPr>
          <a:xfrm>
            <a:off x="853466" y="1513653"/>
            <a:ext cx="3836248" cy="2573153"/>
          </a:xfrm>
          <a:prstGeom prst="rect">
            <a:avLst/>
          </a:prstGeom>
          <a:noFill/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3000" b="1" dirty="0" err="1">
                <a:solidFill>
                  <a:schemeClr val="bg1"/>
                </a:solidFill>
                <a:cs typeface="Century Gothic"/>
              </a:rPr>
              <a:t>Gehalte</a:t>
            </a:r>
            <a:r>
              <a:rPr lang="en-US" sz="3000" b="1" dirty="0">
                <a:solidFill>
                  <a:schemeClr val="bg1"/>
                </a:solidFill>
                <a:cs typeface="Century Gothic"/>
              </a:rPr>
              <a:t> </a:t>
            </a:r>
            <a:r>
              <a:rPr lang="en-US" sz="3000" b="1" dirty="0" err="1">
                <a:solidFill>
                  <a:schemeClr val="bg1"/>
                </a:solidFill>
                <a:cs typeface="Century Gothic"/>
              </a:rPr>
              <a:t>Onderwys</a:t>
            </a:r>
            <a:endParaRPr lang="en-US" sz="3000" b="1" dirty="0">
              <a:solidFill>
                <a:schemeClr val="bg1"/>
              </a:solidFill>
              <a:cs typeface="Century Gothic"/>
            </a:endParaRPr>
          </a:p>
          <a:p>
            <a:pPr>
              <a:defRPr/>
            </a:pP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vir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elke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 kind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cs typeface="Century Gothic"/>
              </a:rPr>
              <a:t>in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elke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klaskamer</a:t>
            </a:r>
            <a:endParaRPr lang="en-US" sz="3000" dirty="0">
              <a:solidFill>
                <a:schemeClr val="bg1"/>
              </a:solidFill>
              <a:cs typeface="Century Gothic"/>
            </a:endParaRP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cs typeface="Century Gothic"/>
              </a:rPr>
              <a:t>in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elke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skool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 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cs typeface="Century Gothic"/>
              </a:rPr>
              <a:t>in die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provinsie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41EB9DE-4B7D-48BA-B91D-72396D6B972B}"/>
              </a:ext>
            </a:extLst>
          </p:cNvPr>
          <p:cNvGrpSpPr/>
          <p:nvPr/>
        </p:nvGrpSpPr>
        <p:grpSpPr>
          <a:xfrm>
            <a:off x="853465" y="4294800"/>
            <a:ext cx="9857644" cy="1369086"/>
            <a:chOff x="853465" y="4294800"/>
            <a:chExt cx="9857644" cy="136908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E17C02B-2CAE-4E50-B934-FB621C3927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3465" y="4295886"/>
              <a:ext cx="1368000" cy="1368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6B472D8-7BC6-43E7-85FA-39E9C7137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5466" y="4295885"/>
              <a:ext cx="1368000" cy="1368000"/>
            </a:xfrm>
            <a:prstGeom prst="rect">
              <a:avLst/>
            </a:prstGeom>
          </p:spPr>
        </p:pic>
        <p:pic>
          <p:nvPicPr>
            <p:cNvPr id="9" name="Picture 8" descr="A picture containing text, person&#10;&#10;Description automatically generated">
              <a:extLst>
                <a:ext uri="{FF2B5EF4-FFF2-40B4-BE49-F238E27FC236}">
                  <a16:creationId xmlns:a16="http://schemas.microsoft.com/office/drawing/2014/main" id="{F69FD204-3EC2-4969-B465-BD440575B1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51289" y="4294800"/>
              <a:ext cx="1368000" cy="136800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58FFAAD-F055-418D-968D-F28E09E4DC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9469" y="4294800"/>
              <a:ext cx="1368000" cy="13680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2FA5FAE-A19B-4518-8046-EBEFCC936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7468" y="4294800"/>
              <a:ext cx="1372975" cy="13680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3B3D9B-1C91-4913-9CFC-1A527F5B01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43109" y="4294800"/>
              <a:ext cx="1368000" cy="1368000"/>
            </a:xfrm>
            <a:prstGeom prst="rect">
              <a:avLst/>
            </a:prstGeom>
          </p:spPr>
        </p:pic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7FF2BC-A8F2-236C-09A7-B9D2D63CFB7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597259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21D415E-8AD0-4F40-A264-3713FD220B2C}"/>
              </a:ext>
            </a:extLst>
          </p:cNvPr>
          <p:cNvSpPr txBox="1">
            <a:spLocks/>
          </p:cNvSpPr>
          <p:nvPr/>
        </p:nvSpPr>
        <p:spPr>
          <a:xfrm>
            <a:off x="2170018" y="980320"/>
            <a:ext cx="8229600" cy="5633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4400" dirty="0" err="1">
                <a:solidFill>
                  <a:srgbClr val="001484"/>
                </a:solidFill>
              </a:rPr>
              <a:t>Gehalte</a:t>
            </a:r>
            <a:r>
              <a:rPr lang="en-US" sz="4400" dirty="0">
                <a:solidFill>
                  <a:srgbClr val="001484"/>
                </a:solidFill>
              </a:rPr>
              <a:t> </a:t>
            </a:r>
            <a:r>
              <a:rPr lang="en-US" sz="4400" dirty="0" err="1">
                <a:solidFill>
                  <a:srgbClr val="001484"/>
                </a:solidFill>
              </a:rPr>
              <a:t>Onderwys</a:t>
            </a:r>
            <a:endParaRPr lang="en-US" sz="4400" dirty="0">
              <a:solidFill>
                <a:srgbClr val="001484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03EF8D-30BA-4311-A154-1DC24B856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80" y="4376602"/>
            <a:ext cx="6906995" cy="7696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CB53F90-5732-4C26-99E3-272BF8BE371B}"/>
              </a:ext>
            </a:extLst>
          </p:cNvPr>
          <p:cNvSpPr txBox="1"/>
          <p:nvPr/>
        </p:nvSpPr>
        <p:spPr>
          <a:xfrm>
            <a:off x="2170018" y="1926157"/>
            <a:ext cx="7544612" cy="2008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vir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kind</a:t>
            </a: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klaskamer</a:t>
            </a:r>
            <a:endParaRPr lang="en-ZA" sz="28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skool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die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provinsie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err="1"/>
              <a:t>Visie</a:t>
            </a:r>
            <a:endParaRPr lang="en-ZA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A8DA00-12D0-4D34-9293-4C1223EE442B}"/>
              </a:ext>
            </a:extLst>
          </p:cNvPr>
          <p:cNvSpPr txBox="1"/>
          <p:nvPr/>
        </p:nvSpPr>
        <p:spPr>
          <a:xfrm>
            <a:off x="2170018" y="5178172"/>
            <a:ext cx="956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Sorgsaam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A3D157-CB37-479F-8C2D-FFE4DA6D624B}"/>
              </a:ext>
            </a:extLst>
          </p:cNvPr>
          <p:cNvSpPr txBox="1"/>
          <p:nvPr/>
        </p:nvSpPr>
        <p:spPr>
          <a:xfrm>
            <a:off x="3250763" y="5177055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Bevoegdheid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D5B728-B2BD-4F92-9055-FF21BABBFEFA}"/>
              </a:ext>
            </a:extLst>
          </p:cNvPr>
          <p:cNvSpPr txBox="1"/>
          <p:nvPr/>
        </p:nvSpPr>
        <p:spPr>
          <a:xfrm>
            <a:off x="4438287" y="5178172"/>
            <a:ext cx="14742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Aanspreeklikheid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C5E458-2227-4179-809B-553EAE762968}"/>
              </a:ext>
            </a:extLst>
          </p:cNvPr>
          <p:cNvSpPr txBox="1"/>
          <p:nvPr/>
        </p:nvSpPr>
        <p:spPr>
          <a:xfrm>
            <a:off x="5947316" y="5178172"/>
            <a:ext cx="888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Integriteit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62D19BE-454A-4085-86B9-B491C379F199}"/>
              </a:ext>
            </a:extLst>
          </p:cNvPr>
          <p:cNvSpPr txBox="1"/>
          <p:nvPr/>
        </p:nvSpPr>
        <p:spPr>
          <a:xfrm>
            <a:off x="6984937" y="5178172"/>
            <a:ext cx="1272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Vernuwing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ADB6A0C-ADCA-4CC4-AB64-07629D3ECDE2}"/>
              </a:ext>
            </a:extLst>
          </p:cNvPr>
          <p:cNvSpPr txBox="1"/>
          <p:nvPr/>
        </p:nvSpPr>
        <p:spPr>
          <a:xfrm>
            <a:off x="8198166" y="5177054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Reageer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2F0756-95F3-ABB6-E588-7B66992083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1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69346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21D415E-8AD0-4F40-A264-3713FD220B2C}"/>
              </a:ext>
            </a:extLst>
          </p:cNvPr>
          <p:cNvSpPr txBox="1">
            <a:spLocks/>
          </p:cNvSpPr>
          <p:nvPr/>
        </p:nvSpPr>
        <p:spPr>
          <a:xfrm>
            <a:off x="2170018" y="980320"/>
            <a:ext cx="8229600" cy="5633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4400" dirty="0" err="1">
                <a:solidFill>
                  <a:schemeClr val="bg1"/>
                </a:solidFill>
              </a:rPr>
              <a:t>Gehalte</a:t>
            </a:r>
            <a:r>
              <a:rPr lang="en-US" sz="4400" dirty="0">
                <a:solidFill>
                  <a:srgbClr val="001484"/>
                </a:solidFill>
              </a:rPr>
              <a:t> </a:t>
            </a:r>
            <a:r>
              <a:rPr lang="en-US" sz="4400" dirty="0" err="1">
                <a:solidFill>
                  <a:schemeClr val="bg1"/>
                </a:solidFill>
              </a:rPr>
              <a:t>Onderwys</a:t>
            </a:r>
            <a:endParaRPr lang="en-US" sz="4400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03EF8D-30BA-4311-A154-1DC24B856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80" y="4475992"/>
            <a:ext cx="6906995" cy="7696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CB53F90-5732-4C26-99E3-272BF8BE371B}"/>
              </a:ext>
            </a:extLst>
          </p:cNvPr>
          <p:cNvSpPr txBox="1"/>
          <p:nvPr/>
        </p:nvSpPr>
        <p:spPr>
          <a:xfrm>
            <a:off x="2170018" y="1926157"/>
            <a:ext cx="7544612" cy="2008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ir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kind</a:t>
            </a: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laskamer</a:t>
            </a:r>
            <a:endParaRPr lang="en-ZA" sz="28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kool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die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rovinsie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AB4FFD-9F84-4BDC-A742-81DBFB0216D3}"/>
              </a:ext>
            </a:extLst>
          </p:cNvPr>
          <p:cNvSpPr txBox="1"/>
          <p:nvPr/>
        </p:nvSpPr>
        <p:spPr>
          <a:xfrm>
            <a:off x="2170018" y="5278756"/>
            <a:ext cx="956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orgsaam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2BCADA-5BF6-4E85-861E-B6992D256C23}"/>
              </a:ext>
            </a:extLst>
          </p:cNvPr>
          <p:cNvSpPr txBox="1"/>
          <p:nvPr/>
        </p:nvSpPr>
        <p:spPr>
          <a:xfrm>
            <a:off x="3250763" y="5277639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Bevoegdheid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C0C13A2-F901-4ECC-B878-2B05A9943DA6}"/>
              </a:ext>
            </a:extLst>
          </p:cNvPr>
          <p:cNvSpPr txBox="1"/>
          <p:nvPr/>
        </p:nvSpPr>
        <p:spPr>
          <a:xfrm>
            <a:off x="4438287" y="5278756"/>
            <a:ext cx="14742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Aanspreeklikheid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B5B5D-61A8-484D-A278-2B3E46954A57}"/>
              </a:ext>
            </a:extLst>
          </p:cNvPr>
          <p:cNvSpPr txBox="1"/>
          <p:nvPr/>
        </p:nvSpPr>
        <p:spPr>
          <a:xfrm>
            <a:off x="5947316" y="5278756"/>
            <a:ext cx="888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Integriteit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A690C7A-08E2-499A-B8AF-4DB384A85C88}"/>
              </a:ext>
            </a:extLst>
          </p:cNvPr>
          <p:cNvSpPr txBox="1"/>
          <p:nvPr/>
        </p:nvSpPr>
        <p:spPr>
          <a:xfrm>
            <a:off x="6984937" y="5278756"/>
            <a:ext cx="1272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ernuwing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A89FDDF-6A37-4197-8E7E-B8F38A01FE8B}"/>
              </a:ext>
            </a:extLst>
          </p:cNvPr>
          <p:cNvSpPr txBox="1"/>
          <p:nvPr/>
        </p:nvSpPr>
        <p:spPr>
          <a:xfrm>
            <a:off x="8198166" y="5277638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Reageer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12E7FA-C0CF-353C-1227-E6CF3542DB9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979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67350-ED47-4D3B-9124-206173749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spc="240" dirty="0">
                <a:solidFill>
                  <a:srgbClr val="001484"/>
                </a:solidFill>
              </a:rPr>
              <a:t>ONS KERNWAARDES</a:t>
            </a:r>
            <a:br>
              <a:rPr lang="en-US" sz="1600" spc="240" dirty="0">
                <a:solidFill>
                  <a:srgbClr val="001484"/>
                </a:solidFill>
              </a:rPr>
            </a:br>
            <a:r>
              <a:rPr lang="en-US" sz="1600" dirty="0" err="1">
                <a:solidFill>
                  <a:srgbClr val="5B7F95"/>
                </a:solidFill>
              </a:rPr>
              <a:t>Hierdie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waardes</a:t>
            </a:r>
            <a:r>
              <a:rPr lang="en-US" sz="1600" dirty="0">
                <a:solidFill>
                  <a:srgbClr val="5B7F95"/>
                </a:solidFill>
              </a:rPr>
              <a:t> is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leidende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beginsels</a:t>
            </a:r>
            <a:r>
              <a:rPr lang="en-US" sz="1600" dirty="0">
                <a:solidFill>
                  <a:srgbClr val="5B7F95"/>
                </a:solidFill>
              </a:rPr>
              <a:t> wat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voor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staa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e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waari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glo</a:t>
            </a:r>
            <a:r>
              <a:rPr lang="en-US" sz="1600" dirty="0">
                <a:solidFill>
                  <a:srgbClr val="5B7F95"/>
                </a:solidFill>
              </a:rPr>
              <a:t>.</a:t>
            </a:r>
            <a:endParaRPr lang="en-ZA" sz="1600" dirty="0">
              <a:solidFill>
                <a:srgbClr val="5B7F95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7DD4853-F676-4C4F-8DE7-D6AD3623BE3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365" y="1521496"/>
            <a:ext cx="993882" cy="99388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C308789-349B-40B4-83F2-58AA2DED854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89" y="2956992"/>
            <a:ext cx="993882" cy="993882"/>
          </a:xfrm>
          <a:prstGeom prst="rect">
            <a:avLst/>
          </a:prstGeom>
        </p:spPr>
      </p:pic>
      <p:pic>
        <p:nvPicPr>
          <p:cNvPr id="20" name="Picture 19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079529CA-9F22-4D7E-B162-4994CAA5B37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504" y="3040821"/>
            <a:ext cx="1019692" cy="101969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B117591-610D-4479-A76D-18515D152D6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89" y="4439741"/>
            <a:ext cx="1027135" cy="102341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E6D6D8C-F357-4893-86FA-59DCA556E6A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311" y="4439741"/>
            <a:ext cx="1019692" cy="1019692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670F6A86-1745-4E02-B9CF-67A4A5325EBA}"/>
              </a:ext>
            </a:extLst>
          </p:cNvPr>
          <p:cNvGrpSpPr/>
          <p:nvPr/>
        </p:nvGrpSpPr>
        <p:grpSpPr>
          <a:xfrm>
            <a:off x="2203583" y="1521496"/>
            <a:ext cx="8940537" cy="4426110"/>
            <a:chOff x="1899921" y="1833246"/>
            <a:chExt cx="7071360" cy="3500754"/>
          </a:xfrm>
          <a:effectLst/>
        </p:grpSpPr>
        <p:sp>
          <p:nvSpPr>
            <p:cNvPr id="34" name="TextBox 4">
              <a:extLst>
                <a:ext uri="{FF2B5EF4-FFF2-40B4-BE49-F238E27FC236}">
                  <a16:creationId xmlns:a16="http://schemas.microsoft.com/office/drawing/2014/main" id="{63C1419B-D95F-425F-9BDF-2DEB4EAD5E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192024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Integriteit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eerlik te wees en die regte ding </a:t>
              </a:r>
              <a:br>
                <a:rPr lang="nl-NL" sz="1200" dirty="0">
                  <a:solidFill>
                    <a:srgbClr val="001489"/>
                  </a:solidFill>
                  <a:latin typeface="Century Gothic" charset="0"/>
                </a:rPr>
              </a:b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te doen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0" name="TextBox 4">
              <a:extLst>
                <a:ext uri="{FF2B5EF4-FFF2-40B4-BE49-F238E27FC236}">
                  <a16:creationId xmlns:a16="http://schemas.microsoft.com/office/drawing/2014/main" id="{551047DF-3CF1-42CD-B0C1-166720C60E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419862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Reageer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aan die behoeftes van ons burgers en werknemers te voldoen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1" name="TextBox 4">
              <a:extLst>
                <a:ext uri="{FF2B5EF4-FFF2-40B4-BE49-F238E27FC236}">
                  <a16:creationId xmlns:a16="http://schemas.microsoft.com/office/drawing/2014/main" id="{BC10FCF6-B1FB-4E39-A6DD-540702FEB3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419862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Aanspreeklikheid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ons</a:t>
              </a: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aanvaar</a:t>
              </a: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verantwoordelikheid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2" name="TextBox 4">
              <a:extLst>
                <a:ext uri="{FF2B5EF4-FFF2-40B4-BE49-F238E27FC236}">
                  <a16:creationId xmlns:a16="http://schemas.microsoft.com/office/drawing/2014/main" id="{4615122C-714C-4DAD-96FD-CEF5E11889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3007043"/>
              <a:ext cx="2722879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nl-NL" sz="2700" b="1" dirty="0">
                  <a:solidFill>
                    <a:srgbClr val="001489"/>
                  </a:solidFill>
                  <a:latin typeface="Century Gothic" charset="0"/>
                </a:rPr>
                <a:t>Bevoegdheid </a:t>
              </a: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die vermoë en bevoegdheid om die werk te doen waarvoor ons aangestel is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3" name="TextBox 4">
              <a:extLst>
                <a:ext uri="{FF2B5EF4-FFF2-40B4-BE49-F238E27FC236}">
                  <a16:creationId xmlns:a16="http://schemas.microsoft.com/office/drawing/2014/main" id="{7E0C05D7-C633-43CC-8D3B-B7982D9384F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300600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Vernuwing</a:t>
              </a:r>
              <a:r>
                <a:rPr lang="en-US" sz="2700" b="1" dirty="0">
                  <a:solidFill>
                    <a:srgbClr val="001489"/>
                  </a:solidFill>
                  <a:latin typeface="Century Gothic" charset="0"/>
                </a:rPr>
                <a:t> </a:t>
              </a: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ontvanklik te wees vir nuwe idees en op vindingryke wyse kreatiewe oplossings vir probleme te vind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5" name="TextBox 4">
              <a:extLst>
                <a:ext uri="{FF2B5EF4-FFF2-40B4-BE49-F238E27FC236}">
                  <a16:creationId xmlns:a16="http://schemas.microsoft.com/office/drawing/2014/main" id="{077A6662-93A0-4193-B846-07DF50C577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1833246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Sorgsaam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te gee vir diegene in wie se diens ons is en met wie ons werk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9A974582-BD7A-4E84-A195-801E231E95D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504" y="1521496"/>
            <a:ext cx="1019692" cy="101969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C84640-E219-7B60-224F-C4D7F0F400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1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310911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67350-ED47-4D3B-9124-206173749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spc="240" dirty="0">
                <a:solidFill>
                  <a:srgbClr val="001484"/>
                </a:solidFill>
              </a:rPr>
              <a:t>ONS KERNWAARDES</a:t>
            </a:r>
            <a:br>
              <a:rPr lang="en-US" sz="1600" spc="240" dirty="0">
                <a:solidFill>
                  <a:srgbClr val="001484"/>
                </a:solidFill>
              </a:rPr>
            </a:br>
            <a:r>
              <a:rPr lang="en-US" sz="1600" dirty="0" err="1">
                <a:solidFill>
                  <a:srgbClr val="5B7F95"/>
                </a:solidFill>
              </a:rPr>
              <a:t>Hierdie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waardes</a:t>
            </a:r>
            <a:r>
              <a:rPr lang="en-US" sz="1600" dirty="0">
                <a:solidFill>
                  <a:srgbClr val="5B7F95"/>
                </a:solidFill>
              </a:rPr>
              <a:t> is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leidende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beginsels</a:t>
            </a:r>
            <a:r>
              <a:rPr lang="en-US" sz="1600" dirty="0">
                <a:solidFill>
                  <a:srgbClr val="5B7F95"/>
                </a:solidFill>
              </a:rPr>
              <a:t> wat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voor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staa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e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waari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glo</a:t>
            </a:r>
            <a:r>
              <a:rPr lang="en-US" sz="1600" dirty="0">
                <a:solidFill>
                  <a:srgbClr val="5B7F95"/>
                </a:solidFill>
              </a:rPr>
              <a:t>.</a:t>
            </a:r>
            <a:endParaRPr lang="en-ZA" sz="1600" dirty="0">
              <a:solidFill>
                <a:srgbClr val="5B7F95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D7C5752-6137-4827-8790-C46F76B0D01A}"/>
              </a:ext>
            </a:extLst>
          </p:cNvPr>
          <p:cNvGrpSpPr/>
          <p:nvPr/>
        </p:nvGrpSpPr>
        <p:grpSpPr>
          <a:xfrm>
            <a:off x="458660" y="1422893"/>
            <a:ext cx="10879900" cy="4762284"/>
            <a:chOff x="973468" y="1833246"/>
            <a:chExt cx="7997813" cy="3500754"/>
          </a:xfrm>
          <a:effectLst/>
        </p:grpSpPr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E358C571-0B16-42E4-BE33-5C6C7035AB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468" y="1846579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1">
              <a:extLst>
                <a:ext uri="{FF2B5EF4-FFF2-40B4-BE49-F238E27FC236}">
                  <a16:creationId xmlns:a16="http://schemas.microsoft.com/office/drawing/2014/main" id="{484BE631-70D3-4BA6-BFBD-A45C6D5934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838" y="3058160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0793258F-80F0-4193-A766-902B76B332B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838" y="4198620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1">
              <a:extLst>
                <a:ext uri="{FF2B5EF4-FFF2-40B4-BE49-F238E27FC236}">
                  <a16:creationId xmlns:a16="http://schemas.microsoft.com/office/drawing/2014/main" id="{9DD210B9-B871-421B-8900-A1DACF910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5241" y="1846579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1">
              <a:extLst>
                <a:ext uri="{FF2B5EF4-FFF2-40B4-BE49-F238E27FC236}">
                  <a16:creationId xmlns:a16="http://schemas.microsoft.com/office/drawing/2014/main" id="{F61287F1-8537-4659-92FF-702E3AF849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2700" y="4269740"/>
              <a:ext cx="76962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TextBox 4">
              <a:extLst>
                <a:ext uri="{FF2B5EF4-FFF2-40B4-BE49-F238E27FC236}">
                  <a16:creationId xmlns:a16="http://schemas.microsoft.com/office/drawing/2014/main" id="{F1CFF6E2-AF3F-4858-95C6-D133DFED0B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419862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Reageer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aan die behoeftes van ons burgers en werknemers te voldoen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6" name="TextBox 4">
              <a:extLst>
                <a:ext uri="{FF2B5EF4-FFF2-40B4-BE49-F238E27FC236}">
                  <a16:creationId xmlns:a16="http://schemas.microsoft.com/office/drawing/2014/main" id="{3F8E11F5-2E5B-4754-BB8C-B4E1160953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419862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Aanspreeklikheid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ons</a:t>
              </a: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aanvaar</a:t>
              </a: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verantwoordelikheid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7" name="TextBox 4">
              <a:extLst>
                <a:ext uri="{FF2B5EF4-FFF2-40B4-BE49-F238E27FC236}">
                  <a16:creationId xmlns:a16="http://schemas.microsoft.com/office/drawing/2014/main" id="{9752D906-F8FE-4B44-850C-B031ABE120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3007043"/>
              <a:ext cx="2722879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nl-NL" sz="2700" b="1" dirty="0">
                  <a:solidFill>
                    <a:srgbClr val="001489"/>
                  </a:solidFill>
                  <a:latin typeface="Century Gothic" charset="0"/>
                </a:rPr>
                <a:t>Bevoegdheid </a:t>
              </a: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die vermoë en bevoegdheid om die werk te doen waarvoor ons aangestel is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8" name="TextBox 4">
              <a:extLst>
                <a:ext uri="{FF2B5EF4-FFF2-40B4-BE49-F238E27FC236}">
                  <a16:creationId xmlns:a16="http://schemas.microsoft.com/office/drawing/2014/main" id="{02CAB60E-3327-49C6-8C9C-294A7F6386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300600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Vernuwing</a:t>
              </a:r>
              <a:r>
                <a:rPr lang="en-US" sz="2700" b="1" dirty="0">
                  <a:solidFill>
                    <a:srgbClr val="001489"/>
                  </a:solidFill>
                  <a:latin typeface="Century Gothic" charset="0"/>
                </a:rPr>
                <a:t> </a:t>
              </a: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ontvanklik te wees vir nuwe idees en op vindingryke wyse kreatiewe oplossings vir probleme te vind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9" name="TextBox 4">
              <a:extLst>
                <a:ext uri="{FF2B5EF4-FFF2-40B4-BE49-F238E27FC236}">
                  <a16:creationId xmlns:a16="http://schemas.microsoft.com/office/drawing/2014/main" id="{322B5F0B-7D13-48EF-BF4D-720D6D17D6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192024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Integriteit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eerlik te wees en die regte ding </a:t>
              </a:r>
              <a:br>
                <a:rPr lang="nl-NL" sz="1200" dirty="0">
                  <a:solidFill>
                    <a:srgbClr val="001489"/>
                  </a:solidFill>
                  <a:latin typeface="Century Gothic" charset="0"/>
                </a:rPr>
              </a:b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te doen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40" name="TextBox 4">
              <a:extLst>
                <a:ext uri="{FF2B5EF4-FFF2-40B4-BE49-F238E27FC236}">
                  <a16:creationId xmlns:a16="http://schemas.microsoft.com/office/drawing/2014/main" id="{706CF299-BE8B-4231-B08B-68D3F03FBA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1833246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Sorgsaam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te gee vir diegene in wie se diens ons is en met wie ons werk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5ADAFE3F-83E6-47BB-8550-EE339DB256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2296" y="3085761"/>
            <a:ext cx="1053871" cy="1053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421F3F-80A3-CF17-0DB9-BC5DF77679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1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690060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DAEDF6-AB95-4CB8-8443-9CDC0A558F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5755" y="2403000"/>
            <a:ext cx="5380490" cy="2052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466C1F-4064-2901-0516-FBB8BAA71BC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791032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FF74E9-1056-4A9E-92A1-7ABB48465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5751" y="2403000"/>
            <a:ext cx="5380497" cy="2052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16D722-6087-6E84-D687-744EB6A4B2F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254465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DAEDF6-AB95-4CB8-8443-9CDC0A558F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5755" y="2403000"/>
            <a:ext cx="5380490" cy="2052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075C04-72EF-4C25-445C-709F56909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1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62931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05ED06-5E0A-4572-B3E1-64BF8BAFA9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 dirty="0"/>
              <a:t>Logos: WKR </a:t>
            </a:r>
            <a:r>
              <a:rPr lang="en-ZA" b="1" dirty="0">
                <a:solidFill>
                  <a:srgbClr val="5B7F95"/>
                </a:solidFill>
              </a:rPr>
              <a:t>|</a:t>
            </a:r>
            <a:r>
              <a:rPr lang="en-ZA" b="1" dirty="0"/>
              <a:t> WKOD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095DFC-6C6F-0BDF-22DA-019EF061DBA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12851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FF74E9-1056-4A9E-92A1-7ABB48465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5751" y="2403000"/>
            <a:ext cx="5380497" cy="2052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09468CF-3FAC-11DA-D187-8099954302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20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825302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394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C92D7C-421A-4ADB-BA17-011C66AD1F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6117" y="2133000"/>
            <a:ext cx="6979765" cy="2592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83F4D7-2691-028A-FEED-00BFD20A55D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955015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BDD7E20-A1AF-4503-95C4-264E7018C3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6119" y="2133000"/>
            <a:ext cx="6979761" cy="2592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0350884-0C3F-D77D-4191-D761314C79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446938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92272F0-A6EA-41E2-BBD4-B8A63897BD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7176" y="2439000"/>
            <a:ext cx="6457648" cy="1980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F5BE39-2355-B595-9761-E23EF224795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66889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4A8C098-F7BF-4442-B58C-3497D04B56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7176" y="2439000"/>
            <a:ext cx="6457648" cy="1980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7D17A8-5520-36F7-FF92-48F10888F4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28760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04ED67-C53B-48DA-B2E1-B370322473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 dirty="0" err="1"/>
              <a:t>Ons</a:t>
            </a:r>
            <a:r>
              <a:rPr lang="en-ZA" b="1" dirty="0"/>
              <a:t> </a:t>
            </a:r>
            <a:r>
              <a:rPr lang="en-ZA" b="1" dirty="0" err="1"/>
              <a:t>Visie</a:t>
            </a:r>
            <a:r>
              <a:rPr lang="en-ZA" b="1" dirty="0"/>
              <a:t> </a:t>
            </a:r>
            <a:r>
              <a:rPr lang="en-ZA" b="1" dirty="0">
                <a:solidFill>
                  <a:srgbClr val="5B7F95"/>
                </a:solidFill>
              </a:rPr>
              <a:t>|</a:t>
            </a:r>
            <a:r>
              <a:rPr lang="en-ZA" b="1" dirty="0"/>
              <a:t> </a:t>
            </a:r>
            <a:r>
              <a:rPr lang="en-ZA" b="1" dirty="0" err="1"/>
              <a:t>Kernwaardes</a:t>
            </a:r>
            <a:endParaRPr lang="en-ZA" b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C92B73-377F-A220-0611-B59B75192FB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179922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3C485690-2023-4D1D-AD53-060A47E0647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7569" b="6826"/>
          <a:stretch/>
        </p:blipFill>
        <p:spPr>
          <a:xfrm>
            <a:off x="814769" y="312960"/>
            <a:ext cx="10704114" cy="5760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2B31825-52DA-B46A-CEB9-799F848BB7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93439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1504753B-8CE9-4B92-BD7F-5835CB2937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5991" y="829671"/>
            <a:ext cx="2486025" cy="311467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D797E67-564B-4899-AAF5-991134ACD4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2016" y="1277236"/>
            <a:ext cx="2609850" cy="2857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EB6F0D8-DDF9-4C12-B403-A739CA5705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03741" y="1019175"/>
            <a:ext cx="2724150" cy="24098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032BA6E-38FB-469D-B584-C0F5BEA12F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13591" y="576262"/>
            <a:ext cx="2209800" cy="329565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F70B6DC-D09A-4D8B-80BA-5EEF0CC719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609" y="3323451"/>
            <a:ext cx="2600325" cy="275272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1CCA8F8-0223-40FC-8C28-08B3721C0CB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22766" y="3615182"/>
            <a:ext cx="2790825" cy="2447925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815F69A-AFB8-3396-6A6C-4FB3A7CC04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10657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1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77</TotalTime>
  <Words>288</Words>
  <Application>Microsoft Office PowerPoint</Application>
  <PresentationFormat>Widescreen</PresentationFormat>
  <Paragraphs>80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Century Gothic</vt:lpstr>
      <vt:lpstr>1_WCG-PPT Master-121022-amc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isie</vt:lpstr>
      <vt:lpstr>PowerPoint Presentation</vt:lpstr>
      <vt:lpstr>ONS KERNWAARDES Hierdie waardes is ons leidende beginsels wat ons voor staan en waarin ons glo.</vt:lpstr>
      <vt:lpstr>ONS KERNWAARDES Hierdie waardes is ons leidende beginsels wat ons voor staan en waarin ons glo.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G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Melvine De Vos</cp:lastModifiedBy>
  <cp:revision>1560</cp:revision>
  <cp:lastPrinted>2019-01-28T07:09:01Z</cp:lastPrinted>
  <dcterms:created xsi:type="dcterms:W3CDTF">2017-01-19T08:56:34Z</dcterms:created>
  <dcterms:modified xsi:type="dcterms:W3CDTF">2024-09-12T12:40:45Z</dcterms:modified>
</cp:coreProperties>
</file>